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9"/>
  </p:notesMasterIdLst>
  <p:sldIdLst>
    <p:sldId id="309" r:id="rId2"/>
    <p:sldId id="310" r:id="rId3"/>
    <p:sldId id="308" r:id="rId4"/>
    <p:sldId id="284" r:id="rId5"/>
    <p:sldId id="285" r:id="rId6"/>
    <p:sldId id="286" r:id="rId7"/>
    <p:sldId id="315" r:id="rId8"/>
    <p:sldId id="287" r:id="rId9"/>
    <p:sldId id="288" r:id="rId10"/>
    <p:sldId id="257" r:id="rId11"/>
    <p:sldId id="290" r:id="rId12"/>
    <p:sldId id="258" r:id="rId13"/>
    <p:sldId id="386" r:id="rId14"/>
    <p:sldId id="259" r:id="rId15"/>
    <p:sldId id="260" r:id="rId16"/>
    <p:sldId id="261" r:id="rId17"/>
    <p:sldId id="262" r:id="rId18"/>
    <p:sldId id="263" r:id="rId19"/>
    <p:sldId id="264" r:id="rId20"/>
    <p:sldId id="265" r:id="rId21"/>
    <p:sldId id="320" r:id="rId22"/>
    <p:sldId id="319" r:id="rId23"/>
    <p:sldId id="321" r:id="rId24"/>
    <p:sldId id="270" r:id="rId25"/>
    <p:sldId id="271" r:id="rId26"/>
    <p:sldId id="272" r:id="rId27"/>
    <p:sldId id="273" r:id="rId28"/>
    <p:sldId id="296" r:id="rId29"/>
    <p:sldId id="388" r:id="rId30"/>
    <p:sldId id="389" r:id="rId31"/>
    <p:sldId id="390" r:id="rId32"/>
    <p:sldId id="391" r:id="rId33"/>
    <p:sldId id="323" r:id="rId34"/>
    <p:sldId id="324" r:id="rId35"/>
    <p:sldId id="392" r:id="rId36"/>
    <p:sldId id="325" r:id="rId37"/>
    <p:sldId id="393" r:id="rId38"/>
    <p:sldId id="326" r:id="rId39"/>
    <p:sldId id="394" r:id="rId40"/>
    <p:sldId id="327" r:id="rId41"/>
    <p:sldId id="297" r:id="rId42"/>
    <p:sldId id="298" r:id="rId43"/>
    <p:sldId id="307" r:id="rId44"/>
    <p:sldId id="304" r:id="rId45"/>
    <p:sldId id="306" r:id="rId46"/>
    <p:sldId id="312" r:id="rId47"/>
    <p:sldId id="311" r:id="rId4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8" autoAdjust="0"/>
    <p:restoredTop sz="95055" autoAdjust="0"/>
  </p:normalViewPr>
  <p:slideViewPr>
    <p:cSldViewPr snapToGrid="0" snapToObjects="1">
      <p:cViewPr varScale="1">
        <p:scale>
          <a:sx n="114" d="100"/>
          <a:sy n="114" d="100"/>
        </p:scale>
        <p:origin x="168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 custLinFactNeighborX="0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2" Type="http://schemas.openxmlformats.org/officeDocument/2006/relationships/image" Target="../media/image17.emf"/><Relationship Id="rId1" Type="http://schemas.openxmlformats.org/officeDocument/2006/relationships/image" Target="../media/image16.emf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2/1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 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247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cess Intensification - 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definition of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kiewicz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ulijn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00), PI is ‘Any chemical engineering development that leads to a substantially smaller, cleaner, safer, and more energy efficient technolo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erial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position – deposition of powder-sized materials on various surfa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41AE4-D752-D446-A178-A30358F2C9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57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eguardian.com/environment/2014/jan/08/devecser-hungary-eco-tow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www.theatlantic.com/photo/2011/09/a-flood-of-red-sludge-one-year-later/100158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lacoastpost.com/blog/?p=1316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redmud.org/red-mud/disposal/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3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CA" dirty="0"/>
              <a:t>Conventional process to manufacture Chitin – Demineralization of Shells using HCl in huge quantity of water, then treating demineralized shells with NaOH solution to extract all the proteins. The Chitin/deproteinized shells are removed &amp; dried. Huge quantity of HCl and NaOH containing wastes. Chitin obtained still not of very high purity.</a:t>
            </a:r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2/1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oi.org/10.1039/1463-9270/1999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jpg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20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emf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2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9.emf"/><Relationship Id="rId5" Type="http://schemas.openxmlformats.org/officeDocument/2006/relationships/image" Target="../media/image16.emf"/><Relationship Id="rId15" Type="http://schemas.openxmlformats.org/officeDocument/2006/relationships/image" Target="../media/image21.emf"/><Relationship Id="rId10" Type="http://schemas.openxmlformats.org/officeDocument/2006/relationships/oleObject" Target="../embeddings/oleObject5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emf"/><Relationship Id="rId1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wmf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2.png"/><Relationship Id="rId5" Type="http://schemas.openxmlformats.org/officeDocument/2006/relationships/image" Target="../media/image41.jp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if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0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4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4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4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49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5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tiff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tiff"/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7.emf"/><Relationship Id="rId4" Type="http://schemas.openxmlformats.org/officeDocument/2006/relationships/image" Target="../media/image56.tif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5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8.tiff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9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0.tiff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4533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234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038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23353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9129" y="1694675"/>
            <a:ext cx="6604000" cy="2862322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Material deposi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 separ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" t="3588" r="5472"/>
          <a:stretch/>
        </p:blipFill>
        <p:spPr>
          <a:xfrm>
            <a:off x="6210026" y="2125252"/>
            <a:ext cx="5029200" cy="359968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59331" y="238691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470435" y="1262177"/>
            <a:ext cx="113887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commonly known as Viagra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48921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99818" y="5664686"/>
            <a:ext cx="6049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parison of organic and aqueous waste and vapor emissions for the sildenafil citrate process at three time poi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4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7489" y="1635116"/>
            <a:ext cx="8793327" cy="4034631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Waste cooking oil for biodiesel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lycerol for lactic acid using catalyst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Red mud for brick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Crustacean (crab, lobster, shrimp, </a:t>
            </a:r>
            <a:r>
              <a:rPr lang="en-US" sz="2400" dirty="0" err="1"/>
              <a:t>etc</a:t>
            </a:r>
            <a:r>
              <a:rPr lang="en-US" sz="2400" dirty="0"/>
              <a:t>) shell waste for chitosan based product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ypsum/</a:t>
            </a:r>
            <a:r>
              <a:rPr lang="en-US" sz="2400" dirty="0" err="1"/>
              <a:t>Gluaber’s</a:t>
            </a:r>
            <a:r>
              <a:rPr lang="en-US" sz="2400" dirty="0"/>
              <a:t> Salt used in Cement manufactur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59CE5C1-619C-4A2A-94C6-AA8293230C5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587" y="1275912"/>
            <a:ext cx="8356209" cy="52004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1EEDAB-98A3-4BBB-AC78-378DA4D78998}"/>
              </a:ext>
            </a:extLst>
          </p:cNvPr>
          <p:cNvSpPr txBox="1"/>
          <p:nvPr/>
        </p:nvSpPr>
        <p:spPr>
          <a:xfrm>
            <a:off x="858129" y="1406763"/>
            <a:ext cx="3193366" cy="4495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Kalundborg</a:t>
            </a:r>
            <a:r>
              <a:rPr lang="en-US" dirty="0"/>
              <a:t>, Denmark provides currently best known example of industrial symbiosis in action.</a:t>
            </a:r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n oil refinery, a power station, gypsum board manufacturer, a pharma company, a cement company, </a:t>
            </a:r>
            <a:r>
              <a:rPr lang="en-US" dirty="0" err="1"/>
              <a:t>etc</a:t>
            </a:r>
            <a:r>
              <a:rPr lang="en-US" dirty="0"/>
              <a:t> – they share ground water, surface water, waste water, steam, and fuel and exchange a variety of byproducts that become in other processes.</a:t>
            </a:r>
            <a:endParaRPr lang="en-I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AAA046-4C98-40CF-A07E-2FE1C312D960}"/>
              </a:ext>
            </a:extLst>
          </p:cNvPr>
          <p:cNvSpPr txBox="1"/>
          <p:nvPr/>
        </p:nvSpPr>
        <p:spPr>
          <a:xfrm>
            <a:off x="1308291" y="6485204"/>
            <a:ext cx="541606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dirty="0"/>
              <a:t>http://www.ehrn.co.za/publications/download/09.pdf</a:t>
            </a:r>
          </a:p>
        </p:txBody>
      </p:sp>
    </p:spTree>
    <p:extLst>
      <p:ext uri="{BB962C8B-B14F-4D97-AF65-F5344CB8AC3E}">
        <p14:creationId xmlns:p14="http://schemas.microsoft.com/office/powerpoint/2010/main" val="3090560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80489240"/>
              </p:ext>
            </p:extLst>
          </p:nvPr>
        </p:nvGraphicFramePr>
        <p:xfrm>
          <a:off x="4505993" y="2871266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5993" y="2871266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9597509" y="587918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3625650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77" y="3463620"/>
            <a:ext cx="232694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383245" y="5290124"/>
            <a:ext cx="1585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Used frying oi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5668" y="1345853"/>
            <a:ext cx="10052053" cy="1331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400" dirty="0"/>
              <a:t>Biodiesel from virgin vegetable oil is considered first generation biofuel because it competes with food</a:t>
            </a:r>
          </a:p>
          <a:p>
            <a:pPr>
              <a:lnSpc>
                <a:spcPct val="114000"/>
              </a:lnSpc>
            </a:pPr>
            <a:r>
              <a:rPr lang="en-US" sz="2400" dirty="0"/>
              <a:t>=&gt; Turning to waste can offer a solution: frying oil can be used instead. 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6C0A88CA-6B42-4980-946A-7B2CF642AB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0540" y="5858190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A7F6917D-36ED-4215-829F-02F2BE65B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1082" y="5732444"/>
            <a:ext cx="331564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ts val="600"/>
              </a:spcBef>
              <a:buClrTx/>
              <a:buNone/>
            </a:pPr>
            <a:r>
              <a:rPr lang="en-US" altLang="en-US" sz="1900" b="1" dirty="0">
                <a:latin typeface="+mn-lt"/>
              </a:rPr>
              <a:t>Current treatment:</a:t>
            </a:r>
          </a:p>
          <a:p>
            <a:pPr marL="457200" lvl="1" indent="-18288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1900" dirty="0">
                <a:latin typeface="+mn-lt"/>
              </a:rPr>
              <a:t>Dispose / Combust as fuel.</a:t>
            </a:r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67471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98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99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0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1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57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lang="en-US" sz="16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351575" y="3519246"/>
            <a:ext cx="1136650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120677" y="4724705"/>
            <a:ext cx="1311276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2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3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074981" y="4881651"/>
            <a:ext cx="1386489" cy="35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731055" y="3482539"/>
            <a:ext cx="1386489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4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26919" y="2048793"/>
            <a:ext cx="1070273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166108"/>
            <a:ext cx="4700672" cy="182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lnSpc>
                <a:spcPct val="114000"/>
              </a:lnSpc>
              <a:spcBef>
                <a:spcPct val="0"/>
              </a:spcBef>
              <a:buClrTx/>
              <a:buNone/>
            </a:pPr>
            <a:r>
              <a:rPr lang="en-US" altLang="en-US" sz="20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20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mpete with food sources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869" y="1441236"/>
            <a:ext cx="5026282" cy="490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274886" y="6411058"/>
            <a:ext cx="78403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ussel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; Va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ouw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ewa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kshin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E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e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B. F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Energy &amp; Environmental Science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3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5)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514906"/>
            <a:ext cx="4440896" cy="252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lnSpc>
                <a:spcPct val="114000"/>
              </a:lnSpc>
              <a:spcBef>
                <a:spcPts val="600"/>
              </a:spcBef>
              <a:buNone/>
            </a:pPr>
            <a:r>
              <a:rPr lang="en-US" altLang="en-US" sz="2200" dirty="0">
                <a:latin typeface="+mn-lt"/>
              </a:rPr>
              <a:t>Other applications of Lactic Acid: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Food preservatives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Edible pH modifier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Textile industry 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70260" y="270616"/>
            <a:ext cx="1165147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Water Electrolysis with Earth Abundant Metal Catalyst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2332385" y="3337834"/>
            <a:ext cx="25759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246749" y="3367026"/>
            <a:ext cx="1782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479720"/>
            <a:ext cx="4898021" cy="4579937"/>
            <a:chOff x="3798888" y="1846263"/>
            <a:chExt cx="4898021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998284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7" name="Rounded Rectangular Callout 16"/>
          <p:cNvSpPr/>
          <p:nvPr/>
        </p:nvSpPr>
        <p:spPr>
          <a:xfrm>
            <a:off x="2269973" y="3312244"/>
            <a:ext cx="2466282" cy="432591"/>
          </a:xfrm>
          <a:prstGeom prst="wedgeRoundRectCallout">
            <a:avLst>
              <a:gd name="adj1" fmla="val 67856"/>
              <a:gd name="adj2" fmla="val 14238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75350" y="3814592"/>
            <a:ext cx="2728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418703" y="3988869"/>
            <a:ext cx="3528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node:</a:t>
            </a:r>
          </a:p>
          <a:p>
            <a:r>
              <a:rPr lang="en-US" dirty="0"/>
              <a:t>Expansive platinum group metal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3085515" y="4761812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491175" y="5208129"/>
            <a:ext cx="3472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balt 1,2‐bis(diphenylphosphino)ethane </a:t>
            </a:r>
          </a:p>
          <a:p>
            <a:pPr algn="ctr"/>
            <a:r>
              <a:rPr lang="en-US" dirty="0"/>
              <a:t>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84862" y="6398479"/>
            <a:ext cx="746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loomfield, A. J.; Sheehan, S. W.; Collom, S. L.; Crabtree, R. H.; Anastas, P. T., A heterogeneous water oxidation catalyst from dicobalt octacarbonyl and 1,2-bis(diphenylphosphino)ethane.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New J. Chem.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38 (4)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 animBg="1"/>
      <p:bldP spid="3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994950" y="257267"/>
            <a:ext cx="8202100" cy="646331"/>
          </a:xfrm>
        </p:spPr>
        <p:txBody>
          <a:bodyPr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Electrocatalytic Oxidation of Glycerol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1364695" y="4209424"/>
            <a:ext cx="26404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 dirty="0">
                <a:latin typeface="+mn-lt"/>
              </a:rPr>
              <a:t>2H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O ---&gt; O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+ 4H</a:t>
            </a:r>
            <a:r>
              <a:rPr lang="en-US" altLang="en-US" sz="2000" baseline="30000" dirty="0">
                <a:latin typeface="+mn-lt"/>
              </a:rPr>
              <a:t>+</a:t>
            </a:r>
            <a:r>
              <a:rPr lang="en-US" altLang="en-US" sz="2000" dirty="0">
                <a:latin typeface="+mn-lt"/>
              </a:rPr>
              <a:t> + 4e</a:t>
            </a:r>
            <a:r>
              <a:rPr lang="en-US" altLang="en-US" sz="2000" baseline="30000" dirty="0">
                <a:latin typeface="+mn-lt"/>
              </a:rPr>
              <a:t>-</a:t>
            </a:r>
          </a:p>
        </p:txBody>
      </p:sp>
      <p:graphicFrame>
        <p:nvGraphicFramePr>
          <p:cNvPr id="3175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8114554"/>
              </p:ext>
            </p:extLst>
          </p:nvPr>
        </p:nvGraphicFramePr>
        <p:xfrm>
          <a:off x="1172586" y="4624384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" name="CS ChemDraw Drawing" r:id="rId3" imgW="3188579" imgH="772904" progId="ChemDraw.Document.6.0">
                  <p:embed/>
                </p:oleObj>
              </mc:Choice>
              <mc:Fallback>
                <p:oleObj name="CS ChemDraw Drawing" r:id="rId3" imgW="3188579" imgH="77290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2586" y="4624384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835799" y="3504954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967102" y="4097337"/>
            <a:ext cx="3661169" cy="1431263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20693" y="2346447"/>
            <a:ext cx="3332503" cy="1475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Water-compatibl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tmospheric pressure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Room temp. or abov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Very low current / voltag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BE5E6F-B4DD-4791-B090-93258822BCD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1F01FED-D929-4CFC-9773-0386D5771BC1}"/>
              </a:ext>
            </a:extLst>
          </p:cNvPr>
          <p:cNvGrpSpPr/>
          <p:nvPr/>
        </p:nvGrpSpPr>
        <p:grpSpPr>
          <a:xfrm>
            <a:off x="5736385" y="1592264"/>
            <a:ext cx="4785482" cy="4579937"/>
            <a:chOff x="3798888" y="1846263"/>
            <a:chExt cx="4785482" cy="4579937"/>
          </a:xfrm>
        </p:grpSpPr>
        <p:sp>
          <p:nvSpPr>
            <p:cNvPr id="32" name="Cube 31">
              <a:extLst>
                <a:ext uri="{FF2B5EF4-FFF2-40B4-BE49-F238E27FC236}">
                  <a16:creationId xmlns:a16="http://schemas.microsoft.com/office/drawing/2014/main" id="{6BCD5720-BE24-4FC4-9B27-8B3A4A73FC79}"/>
                </a:ext>
              </a:extLst>
            </p:cNvPr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3" name="Can 4">
              <a:extLst>
                <a:ext uri="{FF2B5EF4-FFF2-40B4-BE49-F238E27FC236}">
                  <a16:creationId xmlns:a16="http://schemas.microsoft.com/office/drawing/2014/main" id="{DEEA42E8-A31A-46F6-AEBA-572F734B4467}"/>
                </a:ext>
              </a:extLst>
            </p:cNvPr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9F5CAF-4379-43C9-85C3-31A07B0B8C1C}"/>
                </a:ext>
              </a:extLst>
            </p:cNvPr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0AE137B8-501F-4565-B1CD-07E89104026E}"/>
                </a:ext>
              </a:extLst>
            </p:cNvPr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3CA3E39-3AF2-44C7-BBFA-A850FAD4214F}"/>
                </a:ext>
              </a:extLst>
            </p:cNvPr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CA40736-841D-49F6-AEC3-EC48A713FC70}"/>
                </a:ext>
              </a:extLst>
            </p:cNvPr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9">
              <a:extLst>
                <a:ext uri="{FF2B5EF4-FFF2-40B4-BE49-F238E27FC236}">
                  <a16:creationId xmlns:a16="http://schemas.microsoft.com/office/drawing/2014/main" id="{819E49BF-2C72-4D88-AC12-1106F1852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763DFAA8-8699-42C1-BB63-61DCC8BC2F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40" name="Rounded Rectangular Callout 13">
              <a:extLst>
                <a:ext uri="{FF2B5EF4-FFF2-40B4-BE49-F238E27FC236}">
                  <a16:creationId xmlns:a16="http://schemas.microsoft.com/office/drawing/2014/main" id="{E13766CB-97D4-4119-8D10-7AC6342A59DE}"/>
                </a:ext>
              </a:extLst>
            </p:cNvPr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1" name="Can 15">
              <a:extLst>
                <a:ext uri="{FF2B5EF4-FFF2-40B4-BE49-F238E27FC236}">
                  <a16:creationId xmlns:a16="http://schemas.microsoft.com/office/drawing/2014/main" id="{AABDE42E-9336-4227-994C-389FF8F89870}"/>
                </a:ext>
              </a:extLst>
            </p:cNvPr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Rounded Rectangle 17">
              <a:extLst>
                <a:ext uri="{FF2B5EF4-FFF2-40B4-BE49-F238E27FC236}">
                  <a16:creationId xmlns:a16="http://schemas.microsoft.com/office/drawing/2014/main" id="{7E114F63-0A45-43E5-A4CD-632B7300F90F}"/>
                </a:ext>
              </a:extLst>
            </p:cNvPr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43" name="TextBox 18">
              <a:extLst>
                <a:ext uri="{FF2B5EF4-FFF2-40B4-BE49-F238E27FC236}">
                  <a16:creationId xmlns:a16="http://schemas.microsoft.com/office/drawing/2014/main" id="{FC8A56F7-95BA-473A-BAD9-4A0BB3477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4" name="TextBox 19">
              <a:extLst>
                <a:ext uri="{FF2B5EF4-FFF2-40B4-BE49-F238E27FC236}">
                  <a16:creationId xmlns:a16="http://schemas.microsoft.com/office/drawing/2014/main" id="{D785FDEA-1F22-4C7D-A465-9DAC92590C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5CFFDCDD-12D8-4BB3-BBD4-9BA31DEC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6" name="TextBox 21">
              <a:extLst>
                <a:ext uri="{FF2B5EF4-FFF2-40B4-BE49-F238E27FC236}">
                  <a16:creationId xmlns:a16="http://schemas.microsoft.com/office/drawing/2014/main" id="{AE43145E-2FA8-404E-9D47-5ECE4F2C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/>
                <a:t>e</a:t>
              </a:r>
              <a:r>
                <a:rPr lang="en-US" altLang="en-US" sz="1600" baseline="30000" dirty="0"/>
                <a:t>-</a:t>
              </a:r>
            </a:p>
          </p:txBody>
        </p:sp>
        <p:sp>
          <p:nvSpPr>
            <p:cNvPr id="47" name="TextBox 22">
              <a:extLst>
                <a:ext uri="{FF2B5EF4-FFF2-40B4-BE49-F238E27FC236}">
                  <a16:creationId xmlns:a16="http://schemas.microsoft.com/office/drawing/2014/main" id="{5D52BDFC-484F-4E02-BDE9-9F40D515A8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8" name="TextBox 23">
              <a:extLst>
                <a:ext uri="{FF2B5EF4-FFF2-40B4-BE49-F238E27FC236}">
                  <a16:creationId xmlns:a16="http://schemas.microsoft.com/office/drawing/2014/main" id="{093E0686-18FD-4900-82A0-43B8B8E99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DD1A88FC-CBA2-4912-8CEB-1D675D747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50" name="Right Arrow 25">
              <a:extLst>
                <a:ext uri="{FF2B5EF4-FFF2-40B4-BE49-F238E27FC236}">
                  <a16:creationId xmlns:a16="http://schemas.microsoft.com/office/drawing/2014/main" id="{41FFCDE8-118B-46E2-8E78-B222AF27DE07}"/>
                </a:ext>
              </a:extLst>
            </p:cNvPr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ight Arrow 26">
              <a:extLst>
                <a:ext uri="{FF2B5EF4-FFF2-40B4-BE49-F238E27FC236}">
                  <a16:creationId xmlns:a16="http://schemas.microsoft.com/office/drawing/2014/main" id="{F29AB5CC-FA41-4092-B8BF-00C3FF0F4240}"/>
                </a:ext>
              </a:extLst>
            </p:cNvPr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9482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6304" y="1309591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300613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52302" y="3747868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95755"/>
              </p:ext>
            </p:extLst>
          </p:nvPr>
        </p:nvGraphicFramePr>
        <p:xfrm>
          <a:off x="6080228" y="4264770"/>
          <a:ext cx="189296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41619" y="3356885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590229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529882"/>
            <a:ext cx="1509916" cy="5232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odium aluminate</a:t>
            </a:r>
          </a:p>
          <a:p>
            <a:pPr algn="ctr"/>
            <a:r>
              <a:rPr lang="en-US" sz="1400" dirty="0"/>
              <a:t>Na</a:t>
            </a:r>
            <a:r>
              <a:rPr lang="en-US" sz="1400" baseline="30000" dirty="0"/>
              <a:t>+ </a:t>
            </a:r>
            <a:r>
              <a:rPr lang="en-US" sz="1400" dirty="0"/>
              <a:t>Al(OH)</a:t>
            </a:r>
            <a:r>
              <a:rPr lang="en-US" sz="1400" baseline="-25000" dirty="0"/>
              <a:t>4</a:t>
            </a:r>
            <a:r>
              <a:rPr lang="en-US" sz="1400" baseline="30000" dirty="0"/>
              <a:t>-</a:t>
            </a:r>
            <a:endParaRPr lang="en-US" sz="14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790255" y="4165760"/>
            <a:ext cx="438961" cy="325533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792000" y="5240335"/>
            <a:ext cx="44398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3890890" y="4137107"/>
            <a:ext cx="100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01631" y="5309793"/>
            <a:ext cx="15807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655205"/>
            <a:ext cx="846770" cy="30777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518280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360587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607689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8213341" y="4548005"/>
            <a:ext cx="3238305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Red mu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oxic sludge (highly basic </a:t>
            </a:r>
            <a:r>
              <a:rPr lang="en-US" b="1" dirty="0"/>
              <a:t>pH=14</a:t>
            </a:r>
            <a:r>
              <a:rPr lang="en-US" dirty="0"/>
              <a:t>)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byproduct of Bayer process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1 ton of 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en-US" dirty="0"/>
              <a:t> =&gt; 1/3 to 2 tons of red mud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Image result for red mu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586" y="2661033"/>
            <a:ext cx="2980312" cy="173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6410" y="1808438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969843" y="1418970"/>
            <a:ext cx="3734477" cy="1021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Bayer Process: </a:t>
            </a:r>
            <a:r>
              <a:rPr lang="en-US" dirty="0"/>
              <a:t>industrial process that refines bauxite, raw aluminum ore, into aluminum oxide, or alumina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2" y="133220"/>
            <a:ext cx="1900766" cy="123664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25148" y="365685"/>
            <a:ext cx="3956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Waste Preven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8790" y="1685591"/>
            <a:ext cx="10054418" cy="48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It is better to prevent waste than to treat or clean up waste after it is formed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.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-1" y="1420882"/>
            <a:ext cx="1219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C28BD-6B63-46FB-9BE1-6E17B8948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585" y="2417919"/>
            <a:ext cx="5196283" cy="34993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E65BDFB-04E5-44EF-AD70-A751F54F4D57}"/>
              </a:ext>
            </a:extLst>
          </p:cNvPr>
          <p:cNvSpPr txBox="1"/>
          <p:nvPr/>
        </p:nvSpPr>
        <p:spPr>
          <a:xfrm>
            <a:off x="3352798" y="6148481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sh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mical Company discharges waste water into the Cuyahoga r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ional Archives and Record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64331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404" y="240221"/>
            <a:ext cx="8259711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d Mud: Pollution and Accidents</a:t>
            </a:r>
          </a:p>
        </p:txBody>
      </p:sp>
      <p:pic>
        <p:nvPicPr>
          <p:cNvPr id="4" name="Picture 2" descr="https://upload.wikimedia.org/wikipedia/commons/c/c2/Luftaufnahmen_Nordseekueste_2012-05-by-RaBoe-47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4"/>
          <a:stretch/>
        </p:blipFill>
        <p:spPr bwMode="auto">
          <a:xfrm>
            <a:off x="660160" y="1496402"/>
            <a:ext cx="2882593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85" y="3518226"/>
            <a:ext cx="1349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ade, German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40816" y="3538491"/>
            <a:ext cx="1883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/>
              <a:t>Kolontar</a:t>
            </a:r>
            <a:r>
              <a:rPr lang="en-US" sz="1400" dirty="0"/>
              <a:t>, Hungary</a:t>
            </a:r>
          </a:p>
        </p:txBody>
      </p:sp>
      <p:pic>
        <p:nvPicPr>
          <p:cNvPr id="3080" name="Picture 8" descr="http://cdn.theatlantic.com/static/infocus/sludge092811/s_s03_0801127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94"/>
          <a:stretch/>
        </p:blipFill>
        <p:spPr bwMode="auto">
          <a:xfrm>
            <a:off x="4397275" y="1496402"/>
            <a:ext cx="2880001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igure 1: Noranda Alumina plant at Gramercy located between Mississippi River and Manchac Swam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4" b="4702"/>
          <a:stretch/>
        </p:blipFill>
        <p:spPr bwMode="auto">
          <a:xfrm>
            <a:off x="660161" y="4028037"/>
            <a:ext cx="2882593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74178" y="6104044"/>
            <a:ext cx="3054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randa Alumina plant at Gramercy - located alongside the Mississippi River</a:t>
            </a:r>
          </a:p>
        </p:txBody>
      </p:sp>
      <p:pic>
        <p:nvPicPr>
          <p:cNvPr id="3086" name="Picture 14" descr="Disposal_India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684" y="4028037"/>
            <a:ext cx="2882592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150739" y="6104044"/>
            <a:ext cx="15215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/>
              <a:t>Damandjodi</a:t>
            </a:r>
            <a:r>
              <a:rPr lang="en-US" sz="1400" dirty="0"/>
              <a:t>, Indi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4838" y="1111357"/>
            <a:ext cx="38136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 red mud is kept in reservoir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55B9D7-13BF-4D82-9250-5B50DC5D480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7306084" y="2477974"/>
            <a:ext cx="314732" cy="363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620817" y="1742838"/>
            <a:ext cx="4153842" cy="41796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fr-CA" dirty="0"/>
              <a:t>Oct. 4, 2010: A </a:t>
            </a:r>
            <a:r>
              <a:rPr lang="fr-CA" dirty="0" err="1"/>
              <a:t>hungarian</a:t>
            </a:r>
            <a:r>
              <a:rPr lang="fr-CA" dirty="0"/>
              <a:t> village, </a:t>
            </a:r>
            <a:r>
              <a:rPr lang="fr-CA" dirty="0" err="1"/>
              <a:t>Kolontar</a:t>
            </a:r>
            <a:r>
              <a:rPr lang="fr-CA" dirty="0"/>
              <a:t>, </a:t>
            </a:r>
            <a:r>
              <a:rPr lang="fr-CA" dirty="0" err="1"/>
              <a:t>is</a:t>
            </a:r>
            <a:r>
              <a:rPr lang="fr-CA" dirty="0"/>
              <a:t> </a:t>
            </a:r>
            <a:r>
              <a:rPr lang="fr-CA" dirty="0" err="1"/>
              <a:t>flooded</a:t>
            </a:r>
            <a:r>
              <a:rPr lang="fr-CA" dirty="0"/>
              <a:t> with </a:t>
            </a:r>
            <a:r>
              <a:rPr lang="fr-CA" dirty="0" err="1"/>
              <a:t>toxic</a:t>
            </a:r>
            <a:r>
              <a:rPr lang="fr-CA" dirty="0"/>
              <a:t> </a:t>
            </a:r>
            <a:r>
              <a:rPr lang="fr-CA" dirty="0" err="1"/>
              <a:t>red</a:t>
            </a:r>
            <a:r>
              <a:rPr lang="fr-CA" dirty="0"/>
              <a:t> </a:t>
            </a:r>
            <a:r>
              <a:rPr lang="fr-CA" dirty="0" err="1"/>
              <a:t>mud</a:t>
            </a:r>
            <a:r>
              <a:rPr lang="fr-CA" dirty="0"/>
              <a:t>.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one million cubic </a:t>
            </a:r>
            <a:r>
              <a:rPr lang="en-US" dirty="0" err="1"/>
              <a:t>metres</a:t>
            </a:r>
            <a:r>
              <a:rPr lang="en-US" dirty="0"/>
              <a:t> of red mu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en people died, and 150 people were injure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About 40 square </a:t>
            </a:r>
            <a:r>
              <a:rPr lang="en-US" dirty="0" err="1"/>
              <a:t>kilometres</a:t>
            </a:r>
            <a:r>
              <a:rPr lang="en-US" dirty="0"/>
              <a:t> (15 </a:t>
            </a:r>
            <a:r>
              <a:rPr lang="en-US" dirty="0" err="1"/>
              <a:t>sq</a:t>
            </a:r>
            <a:r>
              <a:rPr lang="en-US" dirty="0"/>
              <a:t> mi) of land affecte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3 days later the spill reached the </a:t>
            </a:r>
            <a:r>
              <a:rPr lang="en-US" dirty="0" err="1"/>
              <a:t>Danude</a:t>
            </a:r>
            <a:endParaRPr lang="en-US" dirty="0"/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he base is strong enough to kill plant and animal life, and to cause burns and damage to airways if the fumes are breathed.</a:t>
            </a:r>
          </a:p>
        </p:txBody>
      </p:sp>
    </p:spTree>
    <p:extLst>
      <p:ext uri="{BB962C8B-B14F-4D97-AF65-F5344CB8AC3E}">
        <p14:creationId xmlns:p14="http://schemas.microsoft.com/office/powerpoint/2010/main" val="3632021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126" y="1323659"/>
            <a:ext cx="9818782" cy="1829540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b="1" dirty="0">
                <a:latin typeface="+mn-lt"/>
              </a:rPr>
              <a:t>Pyrolysis of biomass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US" sz="1000" b="1" dirty="0"/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/>
              <a:t>Pyrolysis of biomass (500°C) affords a mixture of solid, liquid and gas carbonaceous materials</a:t>
            </a:r>
          </a:p>
          <a:p>
            <a:pPr marL="0" indent="0">
              <a:lnSpc>
                <a:spcPct val="114000"/>
              </a:lnSpc>
              <a:buNone/>
            </a:pPr>
            <a:endParaRPr lang="en-US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162495" y="1489310"/>
            <a:ext cx="3411676" cy="39010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See class on renewable feedstock</a:t>
            </a:r>
            <a:endParaRPr lang="en-US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401390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271094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656731"/>
            <a:ext cx="213360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Gas (10-20 %)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666515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01868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3933080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628531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3848944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35477" y="3399680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795175" y="3649290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dirty="0"/>
              <a:t>Further treatments are needed for fuel production =&gt; highly acidic (</a:t>
            </a:r>
            <a:r>
              <a:rPr lang="en-US" b="1" dirty="0"/>
              <a:t>pH 2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38483"/>
            <a:ext cx="10746653" cy="4873625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fr-CA" sz="2400" dirty="0"/>
              <a:t>Prof. Marcel Schlaf, </a:t>
            </a:r>
            <a:r>
              <a:rPr lang="fr-CA" sz="2400" dirty="0" err="1"/>
              <a:t>University</a:t>
            </a:r>
            <a:r>
              <a:rPr lang="fr-CA" sz="2400" dirty="0"/>
              <a:t> of Guelph mixed the </a:t>
            </a:r>
            <a:r>
              <a:rPr lang="fr-CA" sz="2400" dirty="0" err="1"/>
              <a:t>two</a:t>
            </a:r>
            <a:r>
              <a:rPr lang="fr-CA" sz="2400" dirty="0"/>
              <a:t> </a:t>
            </a:r>
            <a:r>
              <a:rPr lang="fr-CA" sz="2400" dirty="0" err="1"/>
              <a:t>waste</a:t>
            </a:r>
            <a:r>
              <a:rPr lang="fr-CA" sz="2400" dirty="0"/>
              <a:t> </a:t>
            </a:r>
            <a:r>
              <a:rPr lang="fr-CA" sz="2400" dirty="0" err="1"/>
              <a:t>streams</a:t>
            </a:r>
            <a:endParaRPr lang="fr-CA" sz="24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Neutralization</a:t>
            </a:r>
            <a:r>
              <a:rPr lang="fr-CA" sz="2000" dirty="0"/>
              <a:t> </a:t>
            </a:r>
            <a:r>
              <a:rPr lang="fr-CA" sz="2000" dirty="0" err="1"/>
              <a:t>takes</a:t>
            </a:r>
            <a:r>
              <a:rPr lang="fr-CA" sz="2000" dirty="0"/>
              <a:t> place by </a:t>
            </a:r>
            <a:r>
              <a:rPr lang="fr-CA" sz="2000" dirty="0" err="1"/>
              <a:t>mixing</a:t>
            </a:r>
            <a:r>
              <a:rPr lang="fr-CA" sz="2000" dirty="0"/>
              <a:t> the </a:t>
            </a:r>
            <a:r>
              <a:rPr lang="fr-CA" sz="2000" dirty="0" err="1"/>
              <a:t>waste</a:t>
            </a:r>
            <a:r>
              <a:rPr lang="fr-CA" sz="2000" dirty="0"/>
              <a:t> </a:t>
            </a:r>
            <a:r>
              <a:rPr lang="fr-CA" sz="2000" dirty="0" err="1"/>
              <a:t>streams</a:t>
            </a:r>
            <a:r>
              <a:rPr lang="fr-CA" sz="2000" dirty="0"/>
              <a:t> </a:t>
            </a:r>
            <a:r>
              <a:rPr lang="fr-CA" sz="2000" dirty="0" err="1"/>
              <a:t>together</a:t>
            </a:r>
            <a:endParaRPr lang="fr-CA" sz="20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Metals</a:t>
            </a:r>
            <a:r>
              <a:rPr lang="fr-CA" sz="2000" dirty="0"/>
              <a:t> </a:t>
            </a:r>
            <a:r>
              <a:rPr lang="fr-CA" sz="2000" dirty="0" err="1"/>
              <a:t>present</a:t>
            </a:r>
            <a:r>
              <a:rPr lang="fr-CA" sz="2000" dirty="0"/>
              <a:t> in the </a:t>
            </a:r>
            <a:r>
              <a:rPr lang="fr-CA" sz="2000" dirty="0" err="1"/>
              <a:t>red</a:t>
            </a:r>
            <a:r>
              <a:rPr lang="fr-CA" sz="2000" dirty="0"/>
              <a:t> </a:t>
            </a:r>
            <a:r>
              <a:rPr lang="fr-CA" sz="2000" dirty="0" err="1"/>
              <a:t>mud</a:t>
            </a:r>
            <a:r>
              <a:rPr lang="fr-CA" sz="2000" dirty="0"/>
              <a:t> </a:t>
            </a:r>
            <a:r>
              <a:rPr lang="fr-CA" sz="2000" dirty="0" err="1"/>
              <a:t>catalyze</a:t>
            </a:r>
            <a:r>
              <a:rPr lang="fr-CA" sz="2000" dirty="0"/>
              <a:t> the </a:t>
            </a:r>
            <a:r>
              <a:rPr lang="fr-CA" sz="2000" dirty="0" err="1"/>
              <a:t>reduction</a:t>
            </a:r>
            <a:r>
              <a:rPr lang="fr-CA" sz="2000" dirty="0"/>
              <a:t> of the </a:t>
            </a:r>
            <a:r>
              <a:rPr lang="fr-CA" sz="2000" dirty="0" err="1"/>
              <a:t>biofuels</a:t>
            </a:r>
            <a:r>
              <a:rPr lang="fr-CA" sz="2000" dirty="0"/>
              <a:t> to </a:t>
            </a:r>
            <a:r>
              <a:rPr lang="fr-CA" sz="2000" dirty="0" err="1"/>
              <a:t>obtain</a:t>
            </a:r>
            <a:r>
              <a:rPr lang="fr-CA" sz="2000" dirty="0"/>
              <a:t> </a:t>
            </a:r>
            <a:r>
              <a:rPr lang="fr-CA" sz="2000" dirty="0" err="1"/>
              <a:t>higher</a:t>
            </a:r>
            <a:r>
              <a:rPr lang="fr-CA" sz="2000" dirty="0"/>
              <a:t> </a:t>
            </a:r>
            <a:r>
              <a:rPr lang="fr-CA" sz="2000" dirty="0" err="1"/>
              <a:t>quality</a:t>
            </a:r>
            <a:r>
              <a:rPr lang="fr-CA" sz="2000" dirty="0"/>
              <a:t> fuel</a:t>
            </a:r>
          </a:p>
          <a:p>
            <a:pPr lvl="2" eaLnBrk="1" hangingPunct="1">
              <a:lnSpc>
                <a:spcPct val="114000"/>
              </a:lnSpc>
            </a:pPr>
            <a:endParaRPr lang="fr-CA" dirty="0"/>
          </a:p>
          <a:p>
            <a:pPr lvl="2" eaLnBrk="1" hangingPunct="1">
              <a:lnSpc>
                <a:spcPct val="114000"/>
              </a:lnSpc>
            </a:pPr>
            <a:endParaRPr lang="fr-CA" dirty="0"/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>
          <a:blip r:embed="rId4" cstate="print"/>
          <a:srcRect l="7407" t="19281" r="46297" b="24652"/>
          <a:stretch>
            <a:fillRect/>
          </a:stretch>
        </p:blipFill>
        <p:spPr bwMode="auto">
          <a:xfrm>
            <a:off x="3292576" y="2642419"/>
            <a:ext cx="2149052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Plus 20"/>
          <p:cNvSpPr/>
          <p:nvPr/>
        </p:nvSpPr>
        <p:spPr>
          <a:xfrm>
            <a:off x="2317953" y="346095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608638" y="357156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48400" y="3796707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472488" y="3460955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: </a:t>
            </a:r>
            <a:r>
              <a:rPr lang="en-US" b="1" dirty="0" err="1">
                <a:solidFill>
                  <a:schemeClr val="hlink"/>
                </a:solidFill>
                <a:latin typeface="Century Schoolbook" pitchFamily="18" charset="0"/>
              </a:rPr>
              <a:t>biowast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6413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667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3F75"/>
                </a:solidFill>
                <a:latin typeface="Century Schoolbook" pitchFamily="18" charset="0"/>
              </a:rPr>
              <a:t>Fuel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2514601" y="6605252"/>
            <a:ext cx="71278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/>
              <a:t>Karimi, E.; Gomez, A.; Kycia, S. W.; Schlaf, M. </a:t>
            </a:r>
            <a:r>
              <a:rPr lang="en-US" sz="1200" i="1"/>
              <a:t>Energy &amp; Fuels</a:t>
            </a:r>
            <a:r>
              <a:rPr lang="en-US" sz="1200"/>
              <a:t> </a:t>
            </a:r>
            <a:r>
              <a:rPr lang="en-US" sz="1200" b="1"/>
              <a:t>2010</a:t>
            </a:r>
            <a:r>
              <a:rPr lang="en-US" sz="1200"/>
              <a:t>, </a:t>
            </a:r>
            <a:r>
              <a:rPr lang="en-US" sz="1200" i="1"/>
              <a:t>24</a:t>
            </a:r>
            <a:r>
              <a:rPr lang="en-US" sz="1200"/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73494" y="4889337"/>
            <a:ext cx="1905000" cy="14652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latin typeface="Century Schoolbook" pitchFamily="18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2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1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808405" y="308008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C sour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Source of metals for catalytic reduction 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26942" y="1497760"/>
            <a:ext cx="8146555" cy="4770620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CA" sz="1800" dirty="0"/>
              <a:t>Robin Rogers and </a:t>
            </a:r>
            <a:r>
              <a:rPr lang="en-US" sz="1800" dirty="0"/>
              <a:t>Mari </a:t>
            </a:r>
            <a:r>
              <a:rPr lang="en-US" sz="1800" dirty="0" err="1"/>
              <a:t>Signum</a:t>
            </a:r>
            <a:r>
              <a:rPr lang="en-US" sz="1800" dirty="0"/>
              <a:t> Mid-Atlantic, LLC, are commercializing a safe, environmentally friendly, low energy-demanding and overall less costly process to produce chitin from seafood waste. Chitin is used in a variety of applications, such as food processing, biodegradable plastics and biomedical applications. This zero-discharge process produces a very high-grade and pure chitin, making use of and monetizing this seafood processing waste. 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CA" dirty="0"/>
          </a:p>
          <a:p>
            <a:pPr lvl="2" eaLnBrk="1" hangingPunct="1">
              <a:lnSpc>
                <a:spcPct val="114000"/>
              </a:lnSpc>
              <a:spcBef>
                <a:spcPts val="0"/>
              </a:spcBef>
            </a:pPr>
            <a:endParaRPr lang="en-CA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Extracting chitin with an ionic liqui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5006" y="2206014"/>
            <a:ext cx="2998840" cy="200172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80091" y="4232581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r. Connelly (ACS), Robin Rogers, Julia Shamshina and John Keyes (awarde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36" y="170016"/>
            <a:ext cx="1569110" cy="181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68546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416107" y="5949832"/>
            <a:ext cx="1682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chitin</a:t>
            </a:r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1681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783504" y="5947648"/>
            <a:ext cx="11366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C000"/>
                </a:solidFill>
              </a:rPr>
              <a:t>Ionic liquid</a:t>
            </a:r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19458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00641" y="517902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210339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207220" y="1678168"/>
            <a:ext cx="9990667" cy="4091056"/>
          </a:xfr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production within a 10-day window in a 28-day test. – OECD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Ultimate” biodegradability – 60-70% of organic carbon converted to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within 28 day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73277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629494"/>
            <a:ext cx="10515600" cy="1319528"/>
          </a:xfrm>
        </p:spPr>
        <p:txBody>
          <a:bodyPr>
            <a:spAutoFit/>
          </a:bodyPr>
          <a:lstStyle/>
          <a:p>
            <a:pPr marL="0" indent="0" algn="ctr">
              <a:lnSpc>
                <a:spcPct val="114000"/>
              </a:lnSpc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8722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3288" y="1883146"/>
            <a:ext cx="10007986" cy="2644763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72809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243" y="1966855"/>
            <a:ext cx="9859558" cy="2439579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71420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5152" y="1684945"/>
            <a:ext cx="10359679" cy="4052007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Not all chemicals will biodegrade at the same rate (think plastic vs paper)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 rate of biodegradation depends on the microorganism, but also a chemical structure of the molecule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Some parts of the molecule are known to be more biodegradable than the others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1224265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1224265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248369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445F2C6-2228-434A-B32A-5A39AB52D75B}"/>
              </a:ext>
            </a:extLst>
          </p:cNvPr>
          <p:cNvCxnSpPr>
            <a:stCxn id="15" idx="2"/>
            <a:endCxn id="17" idx="0"/>
          </p:cNvCxnSpPr>
          <p:nvPr/>
        </p:nvCxnSpPr>
        <p:spPr>
          <a:xfrm>
            <a:off x="8228082" y="1648479"/>
            <a:ext cx="46808" cy="4484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81733" y="6132750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1B68AA7-24E5-2146-A882-EFFEFD95E7F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684677" y="1156169"/>
          <a:ext cx="1553928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3928">
                  <a:extLst>
                    <a:ext uri="{9D8B030D-6E8A-4147-A177-3AD203B41FA5}">
                      <a16:colId xmlns:a16="http://schemas.microsoft.com/office/drawing/2014/main" val="1126716246"/>
                    </a:ext>
                  </a:extLst>
                </a:gridCol>
              </a:tblGrid>
              <a:tr h="28076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39567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Tertiary am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403437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N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4271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591211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yrid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70943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50845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804484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B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9984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ket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62292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nitr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3452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59161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heny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75308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845524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68889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32176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809776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dehy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57461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678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71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356486" y="1598066"/>
            <a:ext cx="8969201" cy="3443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54887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9246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1063" y="1236318"/>
            <a:ext cx="10515600" cy="1195840"/>
          </a:xfr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lnSpc>
                <a:spcPct val="115000"/>
              </a:lnSpc>
              <a:spcBef>
                <a:spcPts val="0"/>
              </a:spcBef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168245" y="4682354"/>
            <a:ext cx="9931161" cy="1739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9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sz="19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77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66816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539209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5427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051698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8553429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53452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049723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DE5B1C-1EE3-1B40-A219-325D9F77B013}"/>
              </a:ext>
            </a:extLst>
          </p:cNvPr>
          <p:cNvSpPr txBox="1"/>
          <p:nvPr/>
        </p:nvSpPr>
        <p:spPr>
          <a:xfrm>
            <a:off x="3471620" y="136385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4468</a:t>
            </a:r>
          </a:p>
          <a:p>
            <a:r>
              <a:rPr lang="en-US" sz="1600" dirty="0"/>
              <a:t>Anaerobic: -0.190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D3B7D6-566F-7548-8A83-29F50B8FB353}"/>
              </a:ext>
            </a:extLst>
          </p:cNvPr>
          <p:cNvSpPr txBox="1"/>
          <p:nvPr/>
        </p:nvSpPr>
        <p:spPr>
          <a:xfrm>
            <a:off x="3611105" y="21852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677</a:t>
            </a:r>
          </a:p>
          <a:p>
            <a:r>
              <a:rPr lang="en-US" sz="1600" dirty="0"/>
              <a:t>Anaerobic: -0.309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5E72CE-286D-D146-AE02-E473FD71AEC8}"/>
              </a:ext>
            </a:extLst>
          </p:cNvPr>
          <p:cNvSpPr txBox="1"/>
          <p:nvPr/>
        </p:nvSpPr>
        <p:spPr>
          <a:xfrm>
            <a:off x="3642104" y="3053166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213</a:t>
            </a:r>
          </a:p>
          <a:p>
            <a:r>
              <a:rPr lang="en-US" sz="1600" dirty="0"/>
              <a:t>Anaerobic: -0.4999</a:t>
            </a:r>
          </a:p>
          <a:p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322A85-8C92-4A4A-86E5-12434405C349}"/>
              </a:ext>
            </a:extLst>
          </p:cNvPr>
          <p:cNvSpPr txBox="1"/>
          <p:nvPr/>
        </p:nvSpPr>
        <p:spPr>
          <a:xfrm>
            <a:off x="3704096" y="4045059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02</a:t>
            </a:r>
          </a:p>
          <a:p>
            <a:r>
              <a:rPr lang="en-US" sz="1600" dirty="0"/>
              <a:t>Anaerobic: 0.909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9778DE-FCAA-F441-8804-A924ACC87A1C}"/>
              </a:ext>
            </a:extLst>
          </p:cNvPr>
          <p:cNvSpPr txBox="1"/>
          <p:nvPr/>
        </p:nvSpPr>
        <p:spPr>
          <a:xfrm>
            <a:off x="3719593" y="5052454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2.9547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0483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29913707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4467821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930959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8714048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68762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77910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14048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68762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89618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A181E6-ADA3-0346-8126-EA5502859D21}"/>
              </a:ext>
            </a:extLst>
          </p:cNvPr>
          <p:cNvSpPr txBox="1"/>
          <p:nvPr/>
        </p:nvSpPr>
        <p:spPr>
          <a:xfrm>
            <a:off x="3234088" y="13335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1559</a:t>
            </a:r>
          </a:p>
          <a:p>
            <a:r>
              <a:rPr lang="en-US" sz="1600" dirty="0"/>
              <a:t>Anaerobic: -0.259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96B26-E2C2-504B-B557-7BC06CF8CA77}"/>
              </a:ext>
            </a:extLst>
          </p:cNvPr>
          <p:cNvSpPr txBox="1"/>
          <p:nvPr/>
        </p:nvSpPr>
        <p:spPr>
          <a:xfrm>
            <a:off x="3238620" y="2135405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177F36-6E4C-D244-ACA9-DF0F40F932F9}"/>
              </a:ext>
            </a:extLst>
          </p:cNvPr>
          <p:cNvSpPr txBox="1"/>
          <p:nvPr/>
        </p:nvSpPr>
        <p:spPr>
          <a:xfrm>
            <a:off x="3234087" y="3057784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9</a:t>
            </a:r>
          </a:p>
          <a:p>
            <a:r>
              <a:rPr lang="en-US" sz="1600" dirty="0"/>
              <a:t>Anaerobic: -1.486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8440C9-04DE-5B49-9897-22F5BB9D1384}"/>
              </a:ext>
            </a:extLst>
          </p:cNvPr>
          <p:cNvSpPr txBox="1"/>
          <p:nvPr/>
        </p:nvSpPr>
        <p:spPr>
          <a:xfrm>
            <a:off x="3265345" y="3902181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51</a:t>
            </a:r>
          </a:p>
          <a:p>
            <a:r>
              <a:rPr lang="en-US" sz="1600" dirty="0"/>
              <a:t>Anaerobic: 0.1224</a:t>
            </a:r>
          </a:p>
          <a:p>
            <a:endParaRPr lang="en-US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0077C6-3E54-7646-B7A0-E019134AB4E8}"/>
              </a:ext>
            </a:extLst>
          </p:cNvPr>
          <p:cNvSpPr txBox="1"/>
          <p:nvPr/>
        </p:nvSpPr>
        <p:spPr>
          <a:xfrm>
            <a:off x="3270500" y="4729372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C8B4AC-F6FF-B141-9157-9747159D1CC2}"/>
              </a:ext>
            </a:extLst>
          </p:cNvPr>
          <p:cNvSpPr txBox="1"/>
          <p:nvPr/>
        </p:nvSpPr>
        <p:spPr>
          <a:xfrm>
            <a:off x="3265345" y="55666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594</a:t>
            </a:r>
          </a:p>
          <a:p>
            <a:r>
              <a:rPr lang="en-US" sz="1600" dirty="0"/>
              <a:t>Anaerobic: 0.2341</a:t>
            </a:r>
          </a:p>
        </p:txBody>
      </p:sp>
    </p:spTree>
    <p:extLst>
      <p:ext uri="{BB962C8B-B14F-4D97-AF65-F5344CB8AC3E}">
        <p14:creationId xmlns:p14="http://schemas.microsoft.com/office/powerpoint/2010/main" val="30220335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51303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198940" y="4417416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&gt;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9420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95234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98940" y="5537645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5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29420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693259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D78BDD5-4B9D-6546-9454-0CB3EAAA2A8A}"/>
              </a:ext>
            </a:extLst>
          </p:cNvPr>
          <p:cNvSpPr txBox="1"/>
          <p:nvPr/>
        </p:nvSpPr>
        <p:spPr>
          <a:xfrm>
            <a:off x="3781591" y="1301858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9355</a:t>
            </a:r>
          </a:p>
          <a:p>
            <a:r>
              <a:rPr lang="en-US" sz="1600" dirty="0"/>
              <a:t>Anaerobic: 0.367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7127BA-811E-2D49-9D3E-9C525BEBA535}"/>
              </a:ext>
            </a:extLst>
          </p:cNvPr>
          <p:cNvSpPr txBox="1"/>
          <p:nvPr/>
        </p:nvSpPr>
        <p:spPr>
          <a:xfrm>
            <a:off x="3766097" y="2309248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892</a:t>
            </a:r>
          </a:p>
          <a:p>
            <a:r>
              <a:rPr lang="en-US" sz="1600" dirty="0"/>
              <a:t>Anaerobic: -0.227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49EA90-CB2D-9747-8F68-D451FC216CE3}"/>
              </a:ext>
            </a:extLst>
          </p:cNvPr>
          <p:cNvSpPr txBox="1"/>
          <p:nvPr/>
        </p:nvSpPr>
        <p:spPr>
          <a:xfrm>
            <a:off x="3797090" y="3394129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3258</a:t>
            </a:r>
          </a:p>
          <a:p>
            <a:r>
              <a:rPr lang="en-US" sz="1600" dirty="0"/>
              <a:t>Anaerobic: -1.2826</a:t>
            </a:r>
          </a:p>
          <a:p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88B52D-FEC3-1347-BF9E-4E7211A4E8D6}"/>
              </a:ext>
            </a:extLst>
          </p:cNvPr>
          <p:cNvSpPr txBox="1"/>
          <p:nvPr/>
        </p:nvSpPr>
        <p:spPr>
          <a:xfrm>
            <a:off x="3797090" y="4556502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960</a:t>
            </a:r>
          </a:p>
          <a:p>
            <a:r>
              <a:rPr lang="en-US" sz="1600" dirty="0"/>
              <a:t>Anaerobic: -0.2469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EC7A67-77DC-5D4A-B725-94FFB5AD8AA6}"/>
              </a:ext>
            </a:extLst>
          </p:cNvPr>
          <p:cNvSpPr txBox="1"/>
          <p:nvPr/>
        </p:nvSpPr>
        <p:spPr>
          <a:xfrm>
            <a:off x="4091557" y="58118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2626</a:t>
            </a:r>
          </a:p>
          <a:p>
            <a:r>
              <a:rPr lang="en-US" sz="1600" dirty="0"/>
              <a:t>Anaerobic: 0.1410</a:t>
            </a:r>
          </a:p>
        </p:txBody>
      </p:sp>
    </p:spTree>
    <p:extLst>
      <p:ext uri="{BB962C8B-B14F-4D97-AF65-F5344CB8AC3E}">
        <p14:creationId xmlns:p14="http://schemas.microsoft.com/office/powerpoint/2010/main" val="24416895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85396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2" name="Left Bracket 11"/>
          <p:cNvSpPr/>
          <p:nvPr/>
        </p:nvSpPr>
        <p:spPr>
          <a:xfrm flipH="1">
            <a:off x="4695597" y="4836402"/>
            <a:ext cx="463138" cy="140248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240143" y="4937479"/>
            <a:ext cx="1214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s faster due to small M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538900" y="4422148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1=2=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29968" y="411792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770327" y="417842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8901" y="551923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2&gt;1&gt;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029968" y="521447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770328" y="5242234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1188E22-E19F-0D4A-AEC0-C5430EC025B4}"/>
              </a:ext>
            </a:extLst>
          </p:cNvPr>
          <p:cNvSpPr/>
          <p:nvPr/>
        </p:nvSpPr>
        <p:spPr>
          <a:xfrm>
            <a:off x="2882830" y="1321710"/>
            <a:ext cx="176509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Aerobic: 0.0000</a:t>
            </a:r>
          </a:p>
          <a:p>
            <a:r>
              <a:rPr lang="en-US" sz="1600" dirty="0"/>
              <a:t>Anaerobic: -0.3687</a:t>
            </a:r>
          </a:p>
          <a:p>
            <a:endParaRPr lang="en-US" sz="1600" dirty="0">
              <a:effectLst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1BAC89-3A92-E744-89F7-C5CDC1720F70}"/>
              </a:ext>
            </a:extLst>
          </p:cNvPr>
          <p:cNvSpPr txBox="1"/>
          <p:nvPr/>
        </p:nvSpPr>
        <p:spPr>
          <a:xfrm>
            <a:off x="2929182" y="2417738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0837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56F1CC-508F-834B-8738-005592E9ADCE}"/>
              </a:ext>
            </a:extLst>
          </p:cNvPr>
          <p:cNvSpPr txBox="1"/>
          <p:nvPr/>
        </p:nvSpPr>
        <p:spPr>
          <a:xfrm>
            <a:off x="3006672" y="3564613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0.0765</a:t>
            </a:r>
          </a:p>
          <a:p>
            <a:endParaRPr lang="en-US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D48940-C623-C241-8DC5-245A67C28354}"/>
              </a:ext>
            </a:extLst>
          </p:cNvPr>
          <p:cNvSpPr txBox="1"/>
          <p:nvPr/>
        </p:nvSpPr>
        <p:spPr>
          <a:xfrm>
            <a:off x="3033246" y="4697850"/>
            <a:ext cx="18785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erobic: 0.0366</a:t>
            </a:r>
          </a:p>
          <a:p>
            <a:r>
              <a:rPr lang="en-US" sz="1600" dirty="0"/>
              <a:t>Anaerobic: 0.7222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839586-8341-6C4F-83E4-C1E6C20256C0}"/>
              </a:ext>
            </a:extLst>
          </p:cNvPr>
          <p:cNvSpPr txBox="1"/>
          <p:nvPr/>
        </p:nvSpPr>
        <p:spPr>
          <a:xfrm>
            <a:off x="3037018" y="5778204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12</a:t>
            </a:r>
          </a:p>
          <a:p>
            <a:r>
              <a:rPr lang="en-US" sz="1600" dirty="0"/>
              <a:t>Anaerobic: 0.6058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63097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</a:t>
            </a:r>
            <a:r>
              <a:rPr lang="en-US" sz="3600" b="1" dirty="0" err="1">
                <a:latin typeface="+mn-lt"/>
              </a:rPr>
              <a:t>Rs</a:t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79884" y="2159844"/>
            <a:ext cx="7554775" cy="4108609"/>
            <a:chOff x="-50178" y="1668231"/>
            <a:chExt cx="7835870" cy="4185458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39026" y="1672919"/>
              <a:ext cx="1293542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Most favored op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50178" y="4858195"/>
              <a:ext cx="1304693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Least favored option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323288" y="1674208"/>
            <a:ext cx="1545424" cy="461665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8094087" y="1558609"/>
            <a:ext cx="3412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need various types of technology to reduce and reuse waste.</a:t>
            </a:r>
          </a:p>
          <a:p>
            <a:endParaRPr lang="en-US" sz="2000" dirty="0"/>
          </a:p>
          <a:p>
            <a:r>
              <a:rPr lang="en-US" sz="2000" dirty="0"/>
              <a:t>Ultimately, the production of waste should be prevent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FC55E8-C7FE-C24A-8894-1F2D1AC689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926" y="0"/>
            <a:ext cx="54281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261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219126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12773"/>
            <a:ext cx="10344150" cy="1434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6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269" cy="886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23031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0547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471983" y="1877281"/>
            <a:ext cx="4283761" cy="417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22297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47000" y="1538073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DDT – Dichlorodiphenyltrichloroethane, which was used as agricultural pesticide, is persistent in the environm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Not only does it bioaccumulates, but it undergoes a reaction to DDE which is even more toxic than DDT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05233" y="2213377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957462" y="4834265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747000" y="4149781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477" y="4174773"/>
            <a:ext cx="2971800" cy="16891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958948" y="6227636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43163" y="3201562"/>
            <a:ext cx="1818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55127" y="5491757"/>
            <a:ext cx="1747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79837" y="2174650"/>
            <a:ext cx="3917419" cy="2600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219000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677816"/>
            <a:ext cx="9401627" cy="705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TPPS was replaced by linear alkylbenzene sulfonate (LAS).</a:t>
            </a:r>
          </a:p>
          <a:p>
            <a:pPr>
              <a:lnSpc>
                <a:spcPct val="114000"/>
              </a:lnSpc>
            </a:pPr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2105659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10812" y="1685636"/>
            <a:ext cx="4865914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22772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24880" y="4478687"/>
            <a:ext cx="4865914" cy="165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233360" y="1705370"/>
            <a:ext cx="8853177" cy="3781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240818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8651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347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76732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0224" y="3623343"/>
            <a:ext cx="5032572" cy="2893677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Semi-anaerobic conditions lead to production of methane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If captured, landfill gas (methane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1128884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22792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5235" y="1511950"/>
            <a:ext cx="6610404" cy="4594078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Thermal decomposition of wastes through Combustion (in presence of oxygen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Better than landfills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>
                <a:latin typeface="+mn-lt"/>
              </a:rPr>
              <a:t>Reduces solid waste mass by 95 - 96%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Converts wastes in to: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Heat – (Use: electricity, steam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>
                <a:latin typeface="+mn-lt"/>
              </a:rPr>
              <a:t>Flue Gas – (Use: indirect heating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Ash – (cement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Disadvantage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Releases gases such as CO2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Emits hazardous end product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No recycling possible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85639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6557" y="3821524"/>
            <a:ext cx="4543865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9378104" y="6322068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80210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87509" y="2258860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091797"/>
              </p:ext>
            </p:extLst>
          </p:nvPr>
        </p:nvGraphicFramePr>
        <p:xfrm>
          <a:off x="7994954" y="127580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2939" y="1360858"/>
            <a:ext cx="7184796" cy="5230856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>
                <a:latin typeface="+mn-lt"/>
              </a:rPr>
              <a:t>Gasification: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Converts organic based materials into CO, H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Achieved by reacting the material at high temperatures (&gt;700 °C), without combustion, with a controlled amount of oxygen and/or steam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The resulting gas mixture is called syngas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Syngas is combustible and often used as a fuel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endParaRPr lang="en-US" sz="1000" dirty="0"/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/>
              <a:t>Pyrolysis: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rmal decomposition at </a:t>
            </a:r>
            <a:r>
              <a:rPr lang="hu-HU" sz="1900" dirty="0"/>
              <a:t>200</a:t>
            </a:r>
            <a:r>
              <a:rPr lang="en-US" sz="1900" dirty="0"/>
              <a:t>-</a:t>
            </a:r>
            <a:r>
              <a:rPr lang="hu-HU" sz="1900" dirty="0"/>
              <a:t>300°C </a:t>
            </a:r>
            <a:r>
              <a:rPr lang="en-US" sz="1900" dirty="0"/>
              <a:t>occurring in the absence of oxygen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Precursor of both the combustion and gasification processes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 products of biomass pyrolysis include biochar, bio-oil, and gases - such as methane, hydrogen, carbon monoxide, and carbon dioxide.</a:t>
            </a: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94278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31237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64456" y="2712878"/>
            <a:ext cx="6727372" cy="2603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Composting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endParaRPr lang="en-US" sz="2000" dirty="0">
              <a:latin typeface="+mn-lt"/>
            </a:endParaRPr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>
                <a:latin typeface="+mn-lt"/>
              </a:rPr>
              <a:t>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8919261"/>
              </p:ext>
            </p:extLst>
          </p:nvPr>
        </p:nvGraphicFramePr>
        <p:xfrm>
          <a:off x="7952748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231068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and Recycl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063054" y="1888094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7980836"/>
              </p:ext>
            </p:extLst>
          </p:nvPr>
        </p:nvGraphicFramePr>
        <p:xfrm>
          <a:off x="7800866" y="1241839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3972" y="1308543"/>
            <a:ext cx="10259487" cy="2054999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/>
              <a:t>Reuse and Recycle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Reusing materials as they are (glass, ceramic)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vailable for metals, plastic, paper, glas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E.g. PET reuse and repurpos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881" y="3248044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178740" y="6570660"/>
            <a:ext cx="10005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205362" y="6084033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1</TotalTime>
  <Words>3055</Words>
  <Application>Microsoft Macintosh PowerPoint</Application>
  <PresentationFormat>Widescreen</PresentationFormat>
  <Paragraphs>616</Paragraphs>
  <Slides>4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8" baseType="lpstr">
      <vt:lpstr>MS Mincho</vt:lpstr>
      <vt:lpstr>ＭＳ Ｐゴシック</vt:lpstr>
      <vt:lpstr>Arial</vt:lpstr>
      <vt:lpstr>Calibri</vt:lpstr>
      <vt:lpstr>Calibri Light</vt:lpstr>
      <vt:lpstr>Calibri Regular</vt:lpstr>
      <vt:lpstr>Century Schoolbook</vt:lpstr>
      <vt:lpstr>Times</vt:lpstr>
      <vt:lpstr>Times New Roman</vt:lpstr>
      <vt:lpstr>Office Theme</vt:lpstr>
      <vt:lpstr>CS ChemDraw Drawing</vt:lpstr>
      <vt:lpstr>Yale-UNIDO Train-the-Facilitator Workshop in Green Chemistry</vt:lpstr>
      <vt:lpstr>PowerPoint Presentation</vt:lpstr>
      <vt:lpstr>PowerPoint Presentation</vt:lpstr>
      <vt:lpstr>Waste treatment pyramid: The 4 Rs Reduce, Reuse, Recycle, Recover</vt:lpstr>
      <vt:lpstr>Landfills</vt:lpstr>
      <vt:lpstr>Incineration</vt:lpstr>
      <vt:lpstr>Recycling and Composting</vt:lpstr>
      <vt:lpstr>Recycling and Composting</vt:lpstr>
      <vt:lpstr>Reuse and Recycle</vt:lpstr>
      <vt:lpstr>The Reduction and Elimination of Waste</vt:lpstr>
      <vt:lpstr>PowerPoint Presentation</vt:lpstr>
      <vt:lpstr>Utilizing Waste as a Feedstock – Industrial Ecology</vt:lpstr>
      <vt:lpstr>Utilizing Waste as a Feedstock – Industrial Ecology</vt:lpstr>
      <vt:lpstr>Example: Used oils as biofuel source</vt:lpstr>
      <vt:lpstr>Glycerol: a waste of biodiesel</vt:lpstr>
      <vt:lpstr>Production and Applications of Lactic Acid- Conventional process</vt:lpstr>
      <vt:lpstr>Water Electrolysis with Earth Abundant Metal Catalyst</vt:lpstr>
      <vt:lpstr>Electrocatalytic Oxidation of Glycerol</vt:lpstr>
      <vt:lpstr>Example: Neutralization of Red Mud through generation of biofuels</vt:lpstr>
      <vt:lpstr>Red Mud: Pollution and Accidents</vt:lpstr>
      <vt:lpstr>Example: Neutralization of Red Mud through generation of biofuels</vt:lpstr>
      <vt:lpstr>Example: 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Mellor, Karolina</cp:lastModifiedBy>
  <cp:revision>322</cp:revision>
  <dcterms:created xsi:type="dcterms:W3CDTF">2018-01-20T18:10:52Z</dcterms:created>
  <dcterms:modified xsi:type="dcterms:W3CDTF">2019-02-19T10:31:13Z</dcterms:modified>
</cp:coreProperties>
</file>